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56" r:id="rId2"/>
    <p:sldId id="276" r:id="rId3"/>
    <p:sldId id="291" r:id="rId4"/>
    <p:sldId id="299" r:id="rId5"/>
    <p:sldId id="297" r:id="rId6"/>
    <p:sldId id="301" r:id="rId7"/>
    <p:sldId id="290" r:id="rId8"/>
    <p:sldId id="302" r:id="rId9"/>
    <p:sldId id="305" r:id="rId10"/>
    <p:sldId id="303" r:id="rId11"/>
    <p:sldId id="300" r:id="rId12"/>
    <p:sldId id="298" r:id="rId1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22594" autoAdjust="0"/>
  </p:normalViewPr>
  <p:slideViewPr>
    <p:cSldViewPr>
      <p:cViewPr>
        <p:scale>
          <a:sx n="80" d="100"/>
          <a:sy n="80" d="100"/>
        </p:scale>
        <p:origin x="-1301" y="12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03.03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das Modell (Schema) einer Datenbank</a:t>
            </a:r>
          </a:p>
          <a:p>
            <a:endParaRPr lang="de-AT" baseline="0" dirty="0" smtClean="0"/>
          </a:p>
          <a:p>
            <a:r>
              <a:rPr lang="de-AT" baseline="0" dirty="0" smtClean="0"/>
              <a:t>Kunde, Auftrag sind die Namen der Tabellen (stehen oberhalb des Kästchens),</a:t>
            </a:r>
          </a:p>
          <a:p>
            <a:r>
              <a:rPr lang="de-AT" baseline="0" dirty="0" smtClean="0"/>
              <a:t>Im Kästchen drinnen stehen Namen der Felder, </a:t>
            </a:r>
          </a:p>
          <a:p>
            <a:r>
              <a:rPr lang="de-AT" baseline="0" dirty="0" smtClean="0"/>
              <a:t>     der 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Key (PK)  steht oben und ist durch einen Querstrich von den anderen getrennt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s</a:t>
            </a:r>
            <a:r>
              <a:rPr lang="de-AT" baseline="0" dirty="0" smtClean="0"/>
              <a:t> (FK)  sind entsprechend gekennzeichne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en habe eine etwas eigenartige Symbolik, </a:t>
            </a:r>
          </a:p>
          <a:p>
            <a:r>
              <a:rPr lang="de-AT" baseline="0" dirty="0" smtClean="0"/>
              <a:t>      die Seite mit der schwarzen Kugel ist immer die n Seite der  1:n  Beziehun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Also:</a:t>
            </a:r>
          </a:p>
          <a:p>
            <a:r>
              <a:rPr lang="de-AT" baseline="0" dirty="0" smtClean="0"/>
              <a:t>1 Kunde erteilt n Aufträge           aber 1 Auftrag gehört zu genau einem Kunden</a:t>
            </a:r>
          </a:p>
          <a:p>
            <a:r>
              <a:rPr lang="de-AT" baseline="0" dirty="0" smtClean="0"/>
              <a:t>1 Verlag verlegt n Bücher            aber 1 Buch wird nur von genau einem Verlag verlegt</a:t>
            </a:r>
          </a:p>
          <a:p>
            <a:r>
              <a:rPr lang="de-AT" baseline="0" dirty="0" smtClean="0"/>
              <a:t>1 Auftrag hat n Auftragspositionen</a:t>
            </a:r>
          </a:p>
          <a:p>
            <a:r>
              <a:rPr lang="de-AT" baseline="0" dirty="0" smtClean="0"/>
              <a:t>1 Buch wird in n Auftragspositionen verkauft</a:t>
            </a:r>
          </a:p>
          <a:p>
            <a:endParaRPr lang="de-AT" baseline="0" dirty="0" smtClean="0"/>
          </a:p>
          <a:p>
            <a:r>
              <a:rPr lang="de-AT" baseline="0" dirty="0" smtClean="0"/>
              <a:t>Zwischen Buch und Auftrag kann man eine   n:m  Beziehung unterstellen.</a:t>
            </a:r>
          </a:p>
          <a:p>
            <a:r>
              <a:rPr lang="de-AT" baseline="0" dirty="0" smtClean="0"/>
              <a:t>Weil es so etwas in Datenbank nicht gibt wurde die </a:t>
            </a:r>
          </a:p>
          <a:p>
            <a:r>
              <a:rPr lang="de-AT" baseline="0" dirty="0" smtClean="0"/>
              <a:t>wurde die Tabelle Auftragsposition zur Auflösung der n:m Beziehung geschaffen.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Lehrer   PS  und   DP  kommen nicht in die Ausgabe, weil sie keine </a:t>
            </a:r>
            <a:r>
              <a:rPr lang="de-AT" dirty="0" err="1" smtClean="0"/>
              <a:t>KVs</a:t>
            </a:r>
            <a:r>
              <a:rPr lang="de-AT" dirty="0" smtClean="0"/>
              <a:t> sind</a:t>
            </a:r>
          </a:p>
          <a:p>
            <a:r>
              <a:rPr lang="de-AT" dirty="0" smtClean="0"/>
              <a:t>                                    (nie in </a:t>
            </a:r>
            <a:r>
              <a:rPr lang="de-AT" dirty="0" err="1" smtClean="0"/>
              <a:t>K_Vorstand</a:t>
            </a:r>
            <a:r>
              <a:rPr lang="de-AT" dirty="0" smtClean="0"/>
              <a:t> vorkommen)</a:t>
            </a:r>
          </a:p>
          <a:p>
            <a:endParaRPr lang="de-AT" dirty="0" smtClean="0"/>
          </a:p>
          <a:p>
            <a:r>
              <a:rPr lang="de-AT" dirty="0" smtClean="0"/>
              <a:t>Die Klasse    2AHIF     fehlt in der Ausgabe, weil STJ hier nicht in </a:t>
            </a:r>
            <a:r>
              <a:rPr lang="de-AT" dirty="0" err="1" smtClean="0"/>
              <a:t>L_Nr</a:t>
            </a:r>
            <a:r>
              <a:rPr lang="de-AT" dirty="0" smtClean="0"/>
              <a:t> vorkommt</a:t>
            </a:r>
          </a:p>
          <a:p>
            <a:r>
              <a:rPr lang="de-AT" dirty="0" smtClean="0"/>
              <a:t>                                (dies ist in der Datenbank nicht möglich, weil die definierte Beziehung</a:t>
            </a:r>
          </a:p>
          <a:p>
            <a:r>
              <a:rPr lang="de-AT" dirty="0" smtClean="0"/>
              <a:t>                                    zwischen</a:t>
            </a:r>
            <a:r>
              <a:rPr lang="de-AT" baseline="0" dirty="0" smtClean="0"/>
              <a:t> Lehrer und Klassen falsche Werte im FK verhindert)</a:t>
            </a:r>
          </a:p>
          <a:p>
            <a:r>
              <a:rPr lang="de-AT" baseline="0" dirty="0" smtClean="0"/>
              <a:t>                                allerdings könnte </a:t>
            </a:r>
            <a:r>
              <a:rPr lang="de-AT" baseline="0" dirty="0" err="1" smtClean="0"/>
              <a:t>K_Vorstand</a:t>
            </a:r>
            <a:r>
              <a:rPr lang="de-AT" baseline="0" dirty="0" smtClean="0"/>
              <a:t> leer sein, dann fehlt die Zeile auch</a:t>
            </a:r>
          </a:p>
          <a:p>
            <a:endParaRPr lang="de-AT" baseline="0" dirty="0" smtClean="0"/>
          </a:p>
          <a:p>
            <a:r>
              <a:rPr lang="de-AT" baseline="0" dirty="0" smtClean="0"/>
              <a:t>Somit sind 2 Lehrer und 3 Klassen in der Ausgabe</a:t>
            </a:r>
          </a:p>
          <a:p>
            <a:r>
              <a:rPr lang="de-AT" baseline="0" dirty="0" smtClean="0"/>
              <a:t>	(SKO ist 2mal als KV eingetrage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Wa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ransdanubien</a:t>
            </a:r>
            <a:endParaRPr lang="en-US" baseline="0" dirty="0" smtClean="0"/>
          </a:p>
          <a:p>
            <a:r>
              <a:rPr lang="en-US" baseline="0" dirty="0" smtClean="0"/>
              <a:t>       In Wien </a:t>
            </a:r>
            <a:r>
              <a:rPr lang="en-US" baseline="0" dirty="0" err="1" smtClean="0"/>
              <a:t>üblic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dru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Bezirke</a:t>
            </a:r>
            <a:r>
              <a:rPr lang="en-US" baseline="0" dirty="0" smtClean="0"/>
              <a:t> (21,22) </a:t>
            </a:r>
            <a:r>
              <a:rPr lang="en-US" baseline="0" dirty="0" err="1" smtClean="0"/>
              <a:t>jensei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onau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Abfra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ev</a:t>
            </a:r>
            <a:r>
              <a:rPr lang="en-US" baseline="0" dirty="0" smtClean="0"/>
              <a:t>. Religion hat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ab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il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Fremdschlüsselfeld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S_Religion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immer</a:t>
            </a:r>
            <a:r>
              <a:rPr lang="en-US" baseline="0" dirty="0" smtClean="0"/>
              <a:t> leer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,</a:t>
            </a:r>
          </a:p>
          <a:p>
            <a:r>
              <a:rPr lang="en-US" baseline="0" dirty="0" smtClean="0"/>
              <a:t>   dies </a:t>
            </a:r>
            <a:r>
              <a:rPr lang="en-US" baseline="0" dirty="0" err="1" smtClean="0"/>
              <a:t>zei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ut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inträge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emdschlüsselseite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   die (</a:t>
            </a:r>
            <a:r>
              <a:rPr lang="en-US" baseline="0" dirty="0" err="1" smtClean="0"/>
              <a:t>Anza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Ausgabesät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timmen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chuljah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ie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ban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lg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leg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grunde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ulja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eht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jeden</a:t>
            </a:r>
            <a:r>
              <a:rPr lang="en-US" baseline="0" dirty="0" smtClean="0"/>
              <a:t> Fall 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ginn</a:t>
            </a:r>
            <a:r>
              <a:rPr lang="en-US" baseline="0" dirty="0" smtClean="0"/>
              <a:t>- und </a:t>
            </a:r>
            <a:r>
              <a:rPr lang="en-US" baseline="0" dirty="0" err="1" smtClean="0"/>
              <a:t>Endedatum</a:t>
            </a:r>
            <a:r>
              <a:rPr lang="en-US" baseline="0" dirty="0" smtClean="0"/>
              <a:t>  ( </a:t>
            </a:r>
            <a:r>
              <a:rPr lang="en-US" baseline="0" dirty="0" err="1" smtClean="0"/>
              <a:t>Sja_Datumvon</a:t>
            </a:r>
            <a:r>
              <a:rPr lang="en-US" baseline="0" dirty="0" smtClean="0"/>
              <a:t>, 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 </a:t>
            </a:r>
            <a:r>
              <a:rPr lang="en-US" baseline="0" dirty="0" err="1" smtClean="0"/>
              <a:t>Sja_Datumbis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Kla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hö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a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uljahr</a:t>
            </a:r>
            <a:r>
              <a:rPr lang="en-US" baseline="0" dirty="0" smtClean="0"/>
              <a:t>  (</a:t>
            </a:r>
            <a:r>
              <a:rPr lang="en-US" baseline="0" dirty="0" err="1" smtClean="0"/>
              <a:t>sie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benfalls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ginn</a:t>
            </a:r>
            <a:r>
              <a:rPr lang="en-US" baseline="0" dirty="0" smtClean="0"/>
              <a:t>- und </a:t>
            </a:r>
            <a:r>
              <a:rPr lang="en-US" baseline="0" dirty="0" err="1" smtClean="0"/>
              <a:t>Endedatum</a:t>
            </a:r>
            <a:r>
              <a:rPr lang="en-US" baseline="0" dirty="0" smtClean="0"/>
              <a:t>  ( </a:t>
            </a:r>
            <a:r>
              <a:rPr lang="en-US" baseline="0" dirty="0" err="1" smtClean="0"/>
              <a:t>K_Datumvon</a:t>
            </a:r>
            <a:r>
              <a:rPr lang="en-US" baseline="0" dirty="0" smtClean="0"/>
              <a:t>,  </a:t>
            </a:r>
            <a:r>
              <a:rPr lang="en-US" baseline="0" dirty="0" err="1" smtClean="0"/>
              <a:t>K_Datumbis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die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efüll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e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ulja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weich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uer</a:t>
            </a:r>
            <a:r>
              <a:rPr lang="en-US" baseline="0" dirty="0" smtClean="0"/>
              <a:t> ha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Will man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korrekte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Beginn</a:t>
            </a:r>
            <a:r>
              <a:rPr lang="en-US" baseline="0" dirty="0" smtClean="0"/>
              <a:t>- und </a:t>
            </a:r>
            <a:r>
              <a:rPr lang="en-US" baseline="0" dirty="0" err="1" smtClean="0"/>
              <a:t>Endedatum</a:t>
            </a:r>
            <a:r>
              <a:rPr lang="en-US" baseline="0" dirty="0" smtClean="0"/>
              <a:t> muss man das </a:t>
            </a:r>
            <a:r>
              <a:rPr lang="en-US" baseline="0" dirty="0" err="1" smtClean="0"/>
              <a:t>Schuljahr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fe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zunehmen</a:t>
            </a:r>
            <a:r>
              <a:rPr lang="en-US" baseline="0" dirty="0" smtClean="0"/>
              <a:t>  (JOIN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chuljahr</a:t>
            </a:r>
            <a:r>
              <a:rPr lang="en-US" baseline="0" dirty="0" smtClean="0"/>
              <a:t>) und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jeweil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umsfeld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ehmen</a:t>
            </a:r>
            <a:r>
              <a:rPr lang="en-US" baseline="0" dirty="0" smtClean="0"/>
              <a:t>, falls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fül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– </a:t>
            </a:r>
            <a:r>
              <a:rPr lang="en-US" baseline="0" dirty="0" err="1" smtClean="0"/>
              <a:t>ansonsten</a:t>
            </a:r>
            <a:r>
              <a:rPr lang="en-US" baseline="0" dirty="0" smtClean="0"/>
              <a:t> das Datum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ulja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ehm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N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unktion</a:t>
            </a:r>
            <a:r>
              <a:rPr lang="en-US" baseline="0" dirty="0" smtClean="0"/>
              <a:t>     </a:t>
            </a:r>
            <a:r>
              <a:rPr lang="en-US" baseline="0" dirty="0" err="1" smtClean="0"/>
              <a:t>Nz</a:t>
            </a:r>
            <a:r>
              <a:rPr lang="en-US" baseline="0" dirty="0" smtClean="0"/>
              <a:t>(wert1,wert2)      </a:t>
            </a:r>
            <a:r>
              <a:rPr lang="en-US" baseline="0" dirty="0" err="1" smtClean="0"/>
              <a:t>liefert</a:t>
            </a:r>
            <a:r>
              <a:rPr lang="en-US" baseline="0" dirty="0" smtClean="0"/>
              <a:t> wert1 falls </a:t>
            </a:r>
            <a:r>
              <a:rPr lang="en-US" baseline="0" dirty="0" err="1" smtClean="0"/>
              <a:t>dieser</a:t>
            </a:r>
            <a:r>
              <a:rPr lang="en-US" baseline="0" dirty="0" smtClean="0"/>
              <a:t>  IS NOT NULL, </a:t>
            </a:r>
            <a:r>
              <a:rPr lang="en-US" baseline="0" dirty="0" err="1" smtClean="0"/>
              <a:t>ansonsten</a:t>
            </a:r>
            <a:r>
              <a:rPr lang="en-US" baseline="0" dirty="0" smtClean="0"/>
              <a:t> wert2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Funktion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urfsans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nutz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 ; </a:t>
            </a:r>
            <a:r>
              <a:rPr lang="en-US" baseline="0" dirty="0" err="1" smtClean="0"/>
              <a:t>statt</a:t>
            </a:r>
            <a:r>
              <a:rPr lang="en-US" baseline="0" dirty="0" smtClean="0"/>
              <a:t> ,         </a:t>
            </a:r>
            <a:r>
              <a:rPr lang="en-US" baseline="0" dirty="0" err="1" smtClean="0"/>
              <a:t>Nz</a:t>
            </a:r>
            <a:r>
              <a:rPr lang="en-US" baseline="0" dirty="0" smtClean="0"/>
              <a:t>(wert1;wert2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-----------------------------------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Ab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2. </a:t>
            </a:r>
            <a:r>
              <a:rPr lang="en-US" baseline="0" dirty="0" err="1" smtClean="0"/>
              <a:t>Fragestell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nötig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m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2 </a:t>
            </a:r>
            <a:r>
              <a:rPr lang="en-US" baseline="0" dirty="0" err="1" smtClean="0"/>
              <a:t>Tabell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die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urfsans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öll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problematisch</a:t>
            </a:r>
            <a:r>
              <a:rPr lang="en-US" baseline="0" dirty="0" smtClean="0"/>
              <a:t>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</a:t>
            </a:r>
            <a:r>
              <a:rPr lang="en-US" baseline="0" dirty="0" err="1" smtClean="0"/>
              <a:t>schreibt</a:t>
            </a:r>
            <a:r>
              <a:rPr lang="en-US" baseline="0" dirty="0" smtClean="0"/>
              <a:t> man den </a:t>
            </a:r>
            <a:r>
              <a:rPr lang="en-US" baseline="0" dirty="0" err="1" smtClean="0"/>
              <a:t>Befe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lbst</a:t>
            </a:r>
            <a:r>
              <a:rPr lang="en-US" baseline="0" dirty="0" smtClean="0"/>
              <a:t> muss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From Zweig 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i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klamm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 (Access </a:t>
            </a:r>
            <a:r>
              <a:rPr lang="en-US" baseline="0" dirty="0" err="1" smtClean="0"/>
              <a:t>Sonderfall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-----------------------------------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Ad </a:t>
            </a:r>
            <a:r>
              <a:rPr lang="en-US" baseline="0" dirty="0" err="1" smtClean="0"/>
              <a:t>letz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agestellung</a:t>
            </a:r>
            <a:r>
              <a:rPr lang="en-US" baseline="0" dirty="0" smtClean="0"/>
              <a:t>     (</a:t>
            </a:r>
            <a:r>
              <a:rPr lang="en-US" baseline="0" dirty="0" err="1" smtClean="0"/>
              <a:t>fortgeschritte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frage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Die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aff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man die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hrer</a:t>
            </a:r>
            <a:r>
              <a:rPr lang="en-US" baseline="0" dirty="0" smtClean="0"/>
              <a:t>  2 mal 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From </a:t>
            </a:r>
            <a:r>
              <a:rPr lang="en-US" baseline="0" dirty="0" err="1" smtClean="0"/>
              <a:t>benutz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urfsansicht</a:t>
            </a:r>
            <a:r>
              <a:rPr lang="en-US" baseline="0" dirty="0" smtClean="0"/>
              <a:t> 2 mal </a:t>
            </a:r>
            <a:r>
              <a:rPr lang="en-US" baseline="0" dirty="0" err="1" smtClean="0"/>
              <a:t>reingeben</a:t>
            </a:r>
            <a:r>
              <a:rPr lang="en-US" baseline="0" dirty="0" smtClean="0"/>
              <a:t> und die JOIN – </a:t>
            </a:r>
            <a:r>
              <a:rPr lang="en-US" baseline="0" dirty="0" err="1" smtClean="0"/>
              <a:t>Striche</a:t>
            </a:r>
            <a:r>
              <a:rPr lang="en-US" baseline="0" dirty="0" smtClean="0"/>
              <a:t> so </a:t>
            </a:r>
            <a:r>
              <a:rPr lang="en-US" baseline="0" dirty="0" err="1" smtClean="0"/>
              <a:t>setzen</a:t>
            </a:r>
            <a:r>
              <a:rPr lang="en-US" baseline="0" dirty="0" smtClean="0"/>
              <a:t>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Lehrer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teilung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eh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Ein Bild (genauer Modell) der Datenbank sollte man immer bereit haben</a:t>
            </a:r>
          </a:p>
          <a:p>
            <a:endParaRPr lang="de-AT" dirty="0" smtClean="0"/>
          </a:p>
          <a:p>
            <a:r>
              <a:rPr lang="de-AT" dirty="0" smtClean="0"/>
              <a:t>Die Dateninhalt muß man notfalls durch öffnen der Tabelle nachschlagen</a:t>
            </a:r>
          </a:p>
          <a:p>
            <a:r>
              <a:rPr lang="de-AT" dirty="0" smtClean="0"/>
              <a:t>	z.B. </a:t>
            </a:r>
            <a:r>
              <a:rPr lang="de-AT" dirty="0" err="1" smtClean="0"/>
              <a:t>Ges_Mw</a:t>
            </a:r>
            <a:r>
              <a:rPr lang="de-AT" dirty="0" smtClean="0"/>
              <a:t>   enthält die Werte   „m“  </a:t>
            </a:r>
            <a:r>
              <a:rPr lang="de-AT" dirty="0" err="1" smtClean="0"/>
              <a:t>bzw</a:t>
            </a:r>
            <a:r>
              <a:rPr lang="de-AT" dirty="0" smtClean="0"/>
              <a:t> „w“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-- Lehrer mit Sprechstunde am Montag</a:t>
            </a:r>
          </a:p>
          <a:p>
            <a:r>
              <a:rPr lang="de-AT" dirty="0" smtClean="0"/>
              <a:t>--            wird in der Entwurfsansicht so erzeugt</a:t>
            </a:r>
          </a:p>
          <a:p>
            <a:r>
              <a:rPr lang="de-AT" dirty="0" smtClean="0"/>
              <a:t>SELECT Lehrer.[</a:t>
            </a:r>
            <a:r>
              <a:rPr lang="de-AT" dirty="0" err="1" smtClean="0"/>
              <a:t>L_Nr</a:t>
            </a:r>
            <a:r>
              <a:rPr lang="de-AT" dirty="0" smtClean="0"/>
              <a:t>], Lehrer.[</a:t>
            </a:r>
            <a:r>
              <a:rPr lang="de-AT" dirty="0" err="1" smtClean="0"/>
              <a:t>L_Zuname</a:t>
            </a:r>
            <a:r>
              <a:rPr lang="de-AT" dirty="0" smtClean="0"/>
              <a:t>], Lehrer.[</a:t>
            </a:r>
            <a:r>
              <a:rPr lang="de-AT" dirty="0" err="1" smtClean="0"/>
              <a:t>L_Sprechstunde_tag</a:t>
            </a:r>
            <a:r>
              <a:rPr lang="de-AT" dirty="0" smtClean="0"/>
              <a:t>]</a:t>
            </a:r>
          </a:p>
          <a:p>
            <a:r>
              <a:rPr lang="de-AT" dirty="0" smtClean="0"/>
              <a:t>FROM Lehrer</a:t>
            </a:r>
          </a:p>
          <a:p>
            <a:r>
              <a:rPr lang="de-AT" dirty="0" smtClean="0"/>
              <a:t>WHERE (((Lehrer.[</a:t>
            </a:r>
            <a:r>
              <a:rPr lang="de-AT" dirty="0" err="1" smtClean="0"/>
              <a:t>L_Sprechstunde_tag</a:t>
            </a:r>
            <a:r>
              <a:rPr lang="de-AT" dirty="0" smtClean="0"/>
              <a:t>])="Montag"))</a:t>
            </a:r>
          </a:p>
          <a:p>
            <a:r>
              <a:rPr lang="de-AT" dirty="0" smtClean="0"/>
              <a:t>ORDER BY Lehrer.[</a:t>
            </a:r>
            <a:r>
              <a:rPr lang="de-AT" dirty="0" err="1" smtClean="0"/>
              <a:t>L_Nr</a:t>
            </a:r>
            <a:r>
              <a:rPr lang="de-AT" dirty="0" smtClean="0"/>
              <a:t>];</a:t>
            </a:r>
          </a:p>
          <a:p>
            <a:r>
              <a:rPr lang="de-AT" dirty="0" smtClean="0"/>
              <a:t>	-- genauso</a:t>
            </a:r>
            <a:r>
              <a:rPr lang="de-AT" baseline="0" dirty="0" smtClean="0"/>
              <a:t> </a:t>
            </a:r>
            <a:r>
              <a:rPr lang="de-AT" baseline="0" dirty="0" err="1" smtClean="0"/>
              <a:t>ok</a:t>
            </a:r>
            <a:r>
              <a:rPr lang="de-AT" baseline="0" dirty="0" smtClean="0"/>
              <a:t> ist der folgende Befehl (ohne unnütze Zeichen)</a:t>
            </a:r>
            <a:endParaRPr lang="de-AT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L_Nr</a:t>
            </a:r>
            <a:r>
              <a:rPr lang="de-AT" dirty="0" smtClean="0"/>
              <a:t>, </a:t>
            </a:r>
            <a:r>
              <a:rPr lang="de-AT" dirty="0" err="1" smtClean="0"/>
              <a:t>L_Zuname</a:t>
            </a:r>
            <a:r>
              <a:rPr lang="de-AT" dirty="0" smtClean="0"/>
              <a:t>, </a:t>
            </a:r>
            <a:r>
              <a:rPr lang="de-AT" dirty="0" err="1" smtClean="0"/>
              <a:t>L_Sprechstunde_tag</a:t>
            </a:r>
            <a:endParaRPr lang="de-AT" dirty="0" smtClean="0"/>
          </a:p>
          <a:p>
            <a:r>
              <a:rPr lang="de-AT" dirty="0" smtClean="0"/>
              <a:t>FROM Lehrer</a:t>
            </a:r>
          </a:p>
          <a:p>
            <a:r>
              <a:rPr lang="de-AT" dirty="0" smtClean="0"/>
              <a:t>WHERE </a:t>
            </a:r>
            <a:r>
              <a:rPr lang="de-AT" dirty="0" err="1" smtClean="0"/>
              <a:t>L_Sprechstunde_tag="Montag</a:t>
            </a:r>
            <a:r>
              <a:rPr lang="de-AT" dirty="0" smtClean="0"/>
              <a:t>"</a:t>
            </a:r>
          </a:p>
          <a:p>
            <a:r>
              <a:rPr lang="de-AT" dirty="0" smtClean="0"/>
              <a:t>ORDER BY </a:t>
            </a:r>
            <a:r>
              <a:rPr lang="de-AT" dirty="0" err="1" smtClean="0"/>
              <a:t>L_Nr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Alle Datenbanken kennen den speziellen Zustand  „leer“,   dieser </a:t>
            </a:r>
            <a:r>
              <a:rPr lang="de-AT" dirty="0" err="1" smtClean="0"/>
              <a:t>muss</a:t>
            </a:r>
            <a:r>
              <a:rPr lang="de-AT" dirty="0" smtClean="0"/>
              <a:t> mit    IS NULL  abgefragt werden</a:t>
            </a:r>
          </a:p>
          <a:p>
            <a:endParaRPr lang="de-AT" dirty="0" smtClean="0"/>
          </a:p>
          <a:p>
            <a:r>
              <a:rPr lang="de-AT" dirty="0" err="1" smtClean="0"/>
              <a:t>Like</a:t>
            </a:r>
            <a:r>
              <a:rPr lang="de-AT" dirty="0" smtClean="0"/>
              <a:t>  kennt in Access   ?  (für genau 1 beliebiges Zeichen) </a:t>
            </a:r>
            <a:r>
              <a:rPr lang="de-AT" dirty="0" err="1" smtClean="0"/>
              <a:t>bzw</a:t>
            </a:r>
            <a:r>
              <a:rPr lang="de-AT" dirty="0" smtClean="0"/>
              <a:t>  *   für 0 bis n beliebige Zeichen</a:t>
            </a:r>
          </a:p>
          <a:p>
            <a:r>
              <a:rPr lang="de-AT" dirty="0" smtClean="0"/>
              <a:t>In anderen </a:t>
            </a:r>
            <a:r>
              <a:rPr lang="de-AT" dirty="0" err="1" smtClean="0"/>
              <a:t>DBs</a:t>
            </a:r>
            <a:r>
              <a:rPr lang="de-AT" dirty="0" smtClean="0"/>
              <a:t> werden statt dessen  _ und % verwendet</a:t>
            </a:r>
          </a:p>
          <a:p>
            <a:endParaRPr lang="de-AT" dirty="0" smtClean="0"/>
          </a:p>
          <a:p>
            <a:r>
              <a:rPr lang="de-AT" dirty="0" smtClean="0"/>
              <a:t>Erweiterungen auf mächtigere Bedingungen (wie </a:t>
            </a:r>
            <a:r>
              <a:rPr lang="de-AT" dirty="0" err="1" smtClean="0"/>
              <a:t>regex</a:t>
            </a:r>
            <a:r>
              <a:rPr lang="de-AT" dirty="0" smtClean="0"/>
              <a:t>) gibt es in manchen </a:t>
            </a:r>
            <a:r>
              <a:rPr lang="de-AT" dirty="0" err="1" smtClean="0"/>
              <a:t>DBs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Die </a:t>
            </a:r>
            <a:r>
              <a:rPr lang="en-US" baseline="0" dirty="0" err="1" smtClean="0"/>
              <a:t>Kenntnis</a:t>
            </a:r>
            <a:r>
              <a:rPr lang="en-US" baseline="0" dirty="0" smtClean="0"/>
              <a:t>  von </a:t>
            </a:r>
            <a:r>
              <a:rPr lang="en-US" baseline="0" dirty="0" err="1" smtClean="0"/>
              <a:t>Datums</a:t>
            </a:r>
            <a:r>
              <a:rPr lang="en-US" baseline="0" dirty="0" smtClean="0"/>
              <a:t>- und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xt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aktisch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r>
              <a:rPr lang="en-US" baseline="0" dirty="0" err="1" smtClean="0"/>
              <a:t>Natürlich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    </a:t>
            </a: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s_geschlecht</a:t>
            </a:r>
            <a:r>
              <a:rPr lang="de-AT" dirty="0" smtClean="0"/>
              <a:t> =  </a:t>
            </a:r>
            <a:r>
              <a:rPr lang="de-AT" dirty="0" err="1" smtClean="0"/>
              <a:t>month</a:t>
            </a:r>
            <a:r>
              <a:rPr lang="de-AT" dirty="0" smtClean="0"/>
              <a:t>(</a:t>
            </a:r>
            <a:r>
              <a:rPr lang="de-AT" dirty="0" err="1" smtClean="0"/>
              <a:t>s_gebdatum</a:t>
            </a:r>
            <a:r>
              <a:rPr lang="de-AT" dirty="0" smtClean="0"/>
              <a:t>) </a:t>
            </a:r>
          </a:p>
          <a:p>
            <a:r>
              <a:rPr lang="de-AT" baseline="0" dirty="0" smtClean="0"/>
              <a:t>schon eine abstruse Bedingung, aber Lehrer müssen sich Übungen einfallen lassen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Lehrer.L_Nr</a:t>
            </a:r>
            <a:r>
              <a:rPr lang="de-AT" dirty="0" smtClean="0"/>
              <a:t>, </a:t>
            </a:r>
            <a:r>
              <a:rPr lang="de-AT" dirty="0" err="1" smtClean="0"/>
              <a:t>Lehrer.L_Zuname</a:t>
            </a:r>
            <a:r>
              <a:rPr lang="de-AT" dirty="0" smtClean="0"/>
              <a:t>, </a:t>
            </a:r>
            <a:r>
              <a:rPr lang="de-AT" dirty="0" err="1" smtClean="0"/>
              <a:t>Klassen.K_Nr</a:t>
            </a:r>
            <a:r>
              <a:rPr lang="de-AT" dirty="0" smtClean="0"/>
              <a:t>, </a:t>
            </a:r>
            <a:r>
              <a:rPr lang="de-AT" dirty="0" err="1" smtClean="0"/>
              <a:t>Klassen.K_Jahrsem</a:t>
            </a:r>
            <a:endParaRPr lang="de-AT" dirty="0" smtClean="0"/>
          </a:p>
          <a:p>
            <a:r>
              <a:rPr lang="de-AT" dirty="0" smtClean="0"/>
              <a:t>FROM Lehrer INNER JOIN Klassen </a:t>
            </a:r>
          </a:p>
          <a:p>
            <a:r>
              <a:rPr lang="de-AT" dirty="0" smtClean="0"/>
              <a:t>     ON </a:t>
            </a:r>
            <a:r>
              <a:rPr lang="de-AT" dirty="0" err="1" smtClean="0"/>
              <a:t>Lehrer.L_Nr</a:t>
            </a:r>
            <a:r>
              <a:rPr lang="de-AT" dirty="0" smtClean="0"/>
              <a:t> = </a:t>
            </a:r>
            <a:r>
              <a:rPr lang="de-AT" dirty="0" err="1" smtClean="0"/>
              <a:t>Klassen.K_Vorstand</a:t>
            </a:r>
            <a:endParaRPr lang="de-AT" dirty="0" smtClean="0"/>
          </a:p>
          <a:p>
            <a:r>
              <a:rPr lang="de-AT" dirty="0" smtClean="0"/>
              <a:t>ORDER BY </a:t>
            </a:r>
            <a:r>
              <a:rPr lang="de-AT" dirty="0" err="1" smtClean="0"/>
              <a:t>Lehrer.L_Nr</a:t>
            </a:r>
            <a:r>
              <a:rPr lang="de-AT" dirty="0" smtClean="0"/>
              <a:t>;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INNER JOIN wird benutzt um die Tabellen zu verbinden</a:t>
            </a:r>
          </a:p>
          <a:p>
            <a:endParaRPr lang="de-AT" dirty="0" smtClean="0"/>
          </a:p>
          <a:p>
            <a:r>
              <a:rPr lang="de-AT" dirty="0" smtClean="0"/>
              <a:t>ON Klausel</a:t>
            </a:r>
            <a:r>
              <a:rPr lang="de-AT" baseline="0" dirty="0" smtClean="0"/>
              <a:t> definiert, welche  Datensätze aus den beiden Tabellen kombiniert werden,</a:t>
            </a:r>
          </a:p>
          <a:p>
            <a:r>
              <a:rPr lang="de-AT" baseline="0" dirty="0" smtClean="0"/>
              <a:t>      praktisch wird hier immer eine existierende Beziehung verwendet,</a:t>
            </a:r>
          </a:p>
          <a:p>
            <a:r>
              <a:rPr lang="de-AT" baseline="0" dirty="0" smtClean="0"/>
              <a:t>      also  tabelle1.PrimaryKey = tabelle2.ForeignKey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m oberen Bereich des Abfrage Entwurfsfensters </a:t>
            </a:r>
          </a:p>
          <a:p>
            <a:r>
              <a:rPr lang="de-AT" dirty="0" smtClean="0"/>
              <a:t>   wird die FROM</a:t>
            </a:r>
            <a:r>
              <a:rPr lang="de-AT" baseline="0" dirty="0" smtClean="0"/>
              <a:t> Klausel sehr übersichtlich dargestellt</a:t>
            </a:r>
          </a:p>
          <a:p>
            <a:endParaRPr lang="de-AT" baseline="0" dirty="0" smtClean="0"/>
          </a:p>
          <a:p>
            <a:r>
              <a:rPr lang="de-AT" baseline="0" dirty="0" smtClean="0"/>
              <a:t>Feld und Tabelle zeigt (wo immer ein </a:t>
            </a:r>
            <a:r>
              <a:rPr lang="de-AT" baseline="0" dirty="0" err="1" smtClean="0"/>
              <a:t>Hackerl</a:t>
            </a:r>
            <a:r>
              <a:rPr lang="de-AT" baseline="0" dirty="0" smtClean="0"/>
              <a:t> bei Anzeigen steht) die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Klausel</a:t>
            </a:r>
          </a:p>
          <a:p>
            <a:r>
              <a:rPr lang="de-AT" baseline="0" dirty="0" smtClean="0"/>
              <a:t>   	hier können Felder aus allen im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 stehenden Tabellen aufschein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Sortierung Zeile regelt den Inhalt des  Order </a:t>
            </a:r>
            <a:r>
              <a:rPr lang="de-AT" baseline="0" dirty="0" err="1" smtClean="0"/>
              <a:t>by</a:t>
            </a:r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Die Anzahl der Ausgabedatensätze wird durch die Anzahl der  FK Einträge bestimmt.</a:t>
            </a:r>
          </a:p>
          <a:p>
            <a:r>
              <a:rPr lang="de-AT" baseline="0" dirty="0" smtClean="0"/>
              <a:t>Zu jeder Klasse, die einen Eintrag im FK </a:t>
            </a:r>
            <a:r>
              <a:rPr lang="de-AT" baseline="0" dirty="0" err="1" smtClean="0"/>
              <a:t>K_Vorstand</a:t>
            </a:r>
            <a:r>
              <a:rPr lang="de-AT" baseline="0" dirty="0" smtClean="0"/>
              <a:t> hat wird der passende Lehrer-Datensatz </a:t>
            </a:r>
            <a:r>
              <a:rPr lang="de-AT" baseline="0" dirty="0" err="1" smtClean="0"/>
              <a:t>dazugejoint</a:t>
            </a:r>
            <a:r>
              <a:rPr lang="de-AT" baseline="0" dirty="0" smtClean="0"/>
              <a:t>.</a:t>
            </a:r>
          </a:p>
          <a:p>
            <a:endParaRPr lang="de-AT" baseline="0" dirty="0" smtClean="0"/>
          </a:p>
          <a:p>
            <a:r>
              <a:rPr lang="de-AT" baseline="0" dirty="0" smtClean="0"/>
              <a:t>Lehrer, die nicht KV sind kommen in der Ausgabe nicht vor.</a:t>
            </a:r>
          </a:p>
          <a:p>
            <a:r>
              <a:rPr lang="de-AT" baseline="0" dirty="0" smtClean="0"/>
              <a:t>Klassen, die keinen </a:t>
            </a:r>
            <a:r>
              <a:rPr lang="de-AT" baseline="0" dirty="0" err="1" smtClean="0"/>
              <a:t>K_Vorstand</a:t>
            </a:r>
            <a:r>
              <a:rPr lang="de-AT" baseline="0" dirty="0" smtClean="0"/>
              <a:t> eingetragen haben würden ebenfalls fehl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il in diesem Fall alle 27 Klassen auch einen eingetragenen Klassenvorstand haben </a:t>
            </a:r>
          </a:p>
          <a:p>
            <a:r>
              <a:rPr lang="de-AT" baseline="0" dirty="0" smtClean="0"/>
              <a:t>      kommt </a:t>
            </a:r>
            <a:r>
              <a:rPr lang="de-AT" baseline="0" dirty="0" err="1" smtClean="0"/>
              <a:t>sinngemäss</a:t>
            </a:r>
            <a:r>
              <a:rPr lang="de-AT" baseline="0" dirty="0" smtClean="0"/>
              <a:t> jede Klasse in die Ausgabe, dazu die Daten des Lehrers, welcher KV is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ürde eine Klasse keinen KV </a:t>
            </a:r>
            <a:r>
              <a:rPr lang="de-AT" baseline="0" dirty="0" err="1" smtClean="0"/>
              <a:t>eingtragen</a:t>
            </a:r>
            <a:r>
              <a:rPr lang="de-AT" baseline="0" dirty="0" smtClean="0"/>
              <a:t> haben, dann gäbe es 26 Ergebnissätze</a:t>
            </a:r>
          </a:p>
          <a:p>
            <a:endParaRPr lang="de-AT" baseline="0" dirty="0" smtClean="0"/>
          </a:p>
          <a:p>
            <a:r>
              <a:rPr lang="de-AT" baseline="0" dirty="0" smtClean="0"/>
              <a:t>????  Kann es vorkommen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im FK </a:t>
            </a:r>
            <a:r>
              <a:rPr lang="de-AT" baseline="0" dirty="0" err="1" smtClean="0"/>
              <a:t>K_Vorstand</a:t>
            </a:r>
            <a:r>
              <a:rPr lang="de-AT" baseline="0" dirty="0" smtClean="0"/>
              <a:t>  eine nicht existierendes Lehrerkürzel steht (</a:t>
            </a:r>
            <a:r>
              <a:rPr lang="de-AT" baseline="0" dirty="0" err="1" smtClean="0"/>
              <a:t>z.B</a:t>
            </a:r>
            <a:r>
              <a:rPr lang="de-AT" baseline="0" dirty="0" smtClean="0"/>
              <a:t>:  </a:t>
            </a:r>
            <a:r>
              <a:rPr lang="de-AT" baseline="0" dirty="0" err="1" smtClean="0"/>
              <a:t>xyz</a:t>
            </a:r>
            <a:r>
              <a:rPr lang="de-AT" baseline="0" dirty="0" smtClean="0"/>
              <a:t>) ??????</a:t>
            </a:r>
          </a:p>
          <a:p>
            <a:r>
              <a:rPr lang="de-AT" baseline="0" dirty="0" smtClean="0"/>
              <a:t>        wenn ja, wie würde sich das auswirken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3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988840"/>
            <a:ext cx="6068425" cy="385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5"/>
          <p:cNvSpPr txBox="1"/>
          <p:nvPr/>
        </p:nvSpPr>
        <p:spPr>
          <a:xfrm>
            <a:off x="2051720" y="2996952"/>
            <a:ext cx="591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pic>
        <p:nvPicPr>
          <p:cNvPr id="1032" name="Picture 8" descr="C:\Users\psad\AppData\Local\Temp\SNAGHTML6be36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4128" y="3180580"/>
            <a:ext cx="904875" cy="752476"/>
          </a:xfrm>
          <a:prstGeom prst="rect">
            <a:avLst/>
          </a:prstGeom>
          <a:noFill/>
        </p:spPr>
      </p:pic>
      <p:pic>
        <p:nvPicPr>
          <p:cNvPr id="10" name="Picture 8" descr="C:\Users\psad\AppData\Local\Temp\SNAGHTML6be36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700808"/>
            <a:ext cx="1584176" cy="752476"/>
          </a:xfrm>
          <a:prstGeom prst="rect">
            <a:avLst/>
          </a:prstGeom>
          <a:noFill/>
        </p:spPr>
      </p:pic>
      <p:pic>
        <p:nvPicPr>
          <p:cNvPr id="11" name="Picture 8" descr="C:\Users\psad\AppData\Local\Temp\SNAGHTML6be36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76" y="2373263"/>
            <a:ext cx="1512168" cy="608460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4716016" y="5229200"/>
            <a:ext cx="2016224" cy="936104"/>
          </a:xfrm>
          <a:prstGeom prst="wedgeRoundRectCallout">
            <a:avLst>
              <a:gd name="adj1" fmla="val -43509"/>
              <a:gd name="adj2" fmla="val -10233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rläutern Sie dieses Modell</a:t>
            </a:r>
            <a:endParaRPr lang="de-AT" dirty="0"/>
          </a:p>
        </p:txBody>
      </p:sp>
      <p:sp>
        <p:nvSpPr>
          <p:cNvPr id="13" name="Rechteck 12"/>
          <p:cNvSpPr/>
          <p:nvPr/>
        </p:nvSpPr>
        <p:spPr>
          <a:xfrm rot="5400000">
            <a:off x="7013884" y="1275148"/>
            <a:ext cx="309634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ektion </a:t>
            </a:r>
            <a:r>
              <a:rPr lang="de-DE" sz="5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4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4" name="Picture 3" descr="C:\Users\Divi\Documents\200 HTL Spengergasse\#PH\3. Einheit\#2. Lehrauftritt\Acces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869160"/>
            <a:ext cx="1835696" cy="183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b="1" dirty="0" smtClean="0">
                <a:solidFill>
                  <a:srgbClr val="FF0000"/>
                </a:solidFill>
              </a:rPr>
              <a:t>Abfragen</a:t>
            </a:r>
            <a:r>
              <a:rPr lang="de-AT" dirty="0" smtClean="0"/>
              <a:t> in Access mit mehreren Tabellen 4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196752"/>
            <a:ext cx="7386854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Gewinkelte Verbindung 11"/>
          <p:cNvCxnSpPr/>
          <p:nvPr/>
        </p:nvCxnSpPr>
        <p:spPr>
          <a:xfrm rot="10800000" flipV="1">
            <a:off x="4283968" y="4005064"/>
            <a:ext cx="720080" cy="43204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aphicFrame>
        <p:nvGraphicFramePr>
          <p:cNvPr id="14" name="Tabelle 13"/>
          <p:cNvGraphicFramePr>
            <a:graphicFrameLocks noGrp="1"/>
          </p:cNvGraphicFramePr>
          <p:nvPr/>
        </p:nvGraphicFramePr>
        <p:xfrm>
          <a:off x="683568" y="2132856"/>
          <a:ext cx="244827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  <a:gridCol w="1224136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_N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_Name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Skolud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PS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Preißl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DP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Divjak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CAM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Camrda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/>
        </p:nvGraphicFramePr>
        <p:xfrm>
          <a:off x="5004048" y="2132856"/>
          <a:ext cx="295232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164"/>
                <a:gridCol w="1476164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K_N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K_Vorstand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2CHIF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2AHIF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TJ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1BFI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CAM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3BFI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9" name="Gerade Verbindung 18"/>
          <p:cNvCxnSpPr/>
          <p:nvPr/>
        </p:nvCxnSpPr>
        <p:spPr>
          <a:xfrm>
            <a:off x="3203848" y="2708920"/>
            <a:ext cx="1800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 flipV="1">
            <a:off x="3131840" y="3429000"/>
            <a:ext cx="180020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Tabelle 21"/>
          <p:cNvGraphicFramePr>
            <a:graphicFrameLocks noGrp="1"/>
          </p:cNvGraphicFramePr>
          <p:nvPr/>
        </p:nvGraphicFramePr>
        <p:xfrm>
          <a:off x="2411760" y="4509120"/>
          <a:ext cx="4608512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1152128"/>
                <a:gridCol w="1008112"/>
                <a:gridCol w="1584176"/>
              </a:tblGrid>
              <a:tr h="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_N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_Name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K_N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K_Vorstand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Skolu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2CHIF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CAM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Camrda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1BFI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CAM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Skolu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3BFID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KO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4" name="Gewinkelte Verbindung 23"/>
          <p:cNvCxnSpPr/>
          <p:nvPr/>
        </p:nvCxnSpPr>
        <p:spPr>
          <a:xfrm>
            <a:off x="3203848" y="4005064"/>
            <a:ext cx="792088" cy="43204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0" name="Abgerundete rechteckige Legende 29"/>
          <p:cNvSpPr/>
          <p:nvPr/>
        </p:nvSpPr>
        <p:spPr>
          <a:xfrm>
            <a:off x="179512" y="4293096"/>
            <a:ext cx="2016224" cy="1800200"/>
          </a:xfrm>
          <a:prstGeom prst="wedgeRoundRectCallout">
            <a:avLst>
              <a:gd name="adj1" fmla="val 61368"/>
              <a:gd name="adj2" fmla="val 2109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ur jene Zeilen in der Ausgabe, wo das Lehrerkürzel auf beiden Seiten existiert !</a:t>
            </a:r>
            <a:endParaRPr lang="de-AT" dirty="0"/>
          </a:p>
        </p:txBody>
      </p:sp>
      <p:cxnSp>
        <p:nvCxnSpPr>
          <p:cNvPr id="31" name="Gerade Verbindung 30"/>
          <p:cNvCxnSpPr/>
          <p:nvPr/>
        </p:nvCxnSpPr>
        <p:spPr>
          <a:xfrm>
            <a:off x="3203848" y="2708920"/>
            <a:ext cx="1800200" cy="108012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Abgerundete rechteckige Legende 32"/>
          <p:cNvSpPr/>
          <p:nvPr/>
        </p:nvSpPr>
        <p:spPr>
          <a:xfrm>
            <a:off x="7236296" y="4509120"/>
            <a:ext cx="1728192" cy="1584176"/>
          </a:xfrm>
          <a:prstGeom prst="wedgeRoundRectCallout">
            <a:avLst>
              <a:gd name="adj1" fmla="val -55477"/>
              <a:gd name="adj2" fmla="val -8060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KO gibt es hier 2mal, daher auch 2 Ausgabezeilen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n welcher Abteilung ist der Lehrer Bruckner der Abteilungsvorstand (Ausgabe Abteilungsname,…)</a:t>
            </a:r>
          </a:p>
          <a:p>
            <a:r>
              <a:rPr lang="de-AT" dirty="0" smtClean="0"/>
              <a:t>In welchen Klassen (</a:t>
            </a:r>
            <a:r>
              <a:rPr lang="de-AT" dirty="0" err="1" smtClean="0"/>
              <a:t>K_Nr</a:t>
            </a:r>
            <a:r>
              <a:rPr lang="de-AT" dirty="0" smtClean="0"/>
              <a:t>, </a:t>
            </a:r>
            <a:r>
              <a:rPr lang="de-AT" dirty="0" err="1" smtClean="0"/>
              <a:t>K_jahrsem</a:t>
            </a:r>
            <a:r>
              <a:rPr lang="de-AT" dirty="0" smtClean="0"/>
              <a:t> ausgeben) sind Schüler aus </a:t>
            </a:r>
            <a:r>
              <a:rPr lang="de-AT" dirty="0" err="1" smtClean="0"/>
              <a:t>Transdanubien</a:t>
            </a:r>
            <a:endParaRPr lang="de-AT" dirty="0" smtClean="0"/>
          </a:p>
          <a:p>
            <a:r>
              <a:rPr lang="de-AT" dirty="0" smtClean="0"/>
              <a:t>Gebe alle Klassen (</a:t>
            </a:r>
            <a:r>
              <a:rPr lang="de-AT" dirty="0" err="1" smtClean="0"/>
              <a:t>K_Nr</a:t>
            </a:r>
            <a:r>
              <a:rPr lang="de-AT" dirty="0" smtClean="0"/>
              <a:t>) mit dem Namen der Abteilung aus</a:t>
            </a:r>
          </a:p>
          <a:p>
            <a:r>
              <a:rPr lang="de-AT" dirty="0" smtClean="0"/>
              <a:t>Gebe alle Abteilungen mit Namen und Geschlecht des AV aus</a:t>
            </a:r>
          </a:p>
          <a:p>
            <a:r>
              <a:rPr lang="de-AT" dirty="0" smtClean="0"/>
              <a:t>Welche Schüler haben ein evangelisches Religionsbekenntnis             Warum kommt nix raus?</a:t>
            </a:r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Übungen für Sie schuldb1_V3.m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ebe alle Klassen aus, dazu das Beginndatum und das </a:t>
            </a:r>
            <a:r>
              <a:rPr lang="de-AT" dirty="0" err="1" smtClean="0"/>
              <a:t>Endedatum</a:t>
            </a:r>
            <a:r>
              <a:rPr lang="de-AT" dirty="0" smtClean="0"/>
              <a:t> (falls dies in der Klasse leer ist verwende den Wert aus dem Schuljahr)     Hinweis: </a:t>
            </a:r>
            <a:r>
              <a:rPr lang="de-AT" dirty="0" err="1" smtClean="0"/>
              <a:t>Nz-Funktion</a:t>
            </a:r>
            <a:endParaRPr lang="de-AT" dirty="0" smtClean="0"/>
          </a:p>
          <a:p>
            <a:r>
              <a:rPr lang="de-AT" dirty="0" smtClean="0"/>
              <a:t>Gebe alle Klassen mit dem Namen des AV aus</a:t>
            </a:r>
          </a:p>
          <a:p>
            <a:r>
              <a:rPr lang="de-AT" dirty="0" smtClean="0"/>
              <a:t>Gebe alle Schülerinnennamen (also nur weibliche) mit dem Namen des KV aus, falls auch dieser weiblich ist (</a:t>
            </a:r>
            <a:r>
              <a:rPr lang="de-AT" dirty="0" err="1" smtClean="0"/>
              <a:t>S_Geschlecht</a:t>
            </a:r>
            <a:r>
              <a:rPr lang="de-AT" dirty="0" smtClean="0"/>
              <a:t> </a:t>
            </a:r>
            <a:r>
              <a:rPr lang="de-AT" dirty="0" err="1" smtClean="0"/>
              <a:t>bzw</a:t>
            </a:r>
            <a:r>
              <a:rPr lang="de-AT" dirty="0" smtClean="0"/>
              <a:t> </a:t>
            </a:r>
            <a:r>
              <a:rPr lang="de-AT" dirty="0" err="1" smtClean="0"/>
              <a:t>L_Geschlecht</a:t>
            </a:r>
            <a:r>
              <a:rPr lang="de-AT" dirty="0" smtClean="0"/>
              <a:t> muß 2 sein)</a:t>
            </a:r>
          </a:p>
          <a:p>
            <a:r>
              <a:rPr lang="de-AT" dirty="0" smtClean="0"/>
              <a:t>Gebe alle Klassen mit dem Namen des KV und des AV aus       (trickreiche Abfrage, benötigt Lehrer 2mal)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Übungen für Sie schuldb1_V3.m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Abfragen (auf 1 Tabelle)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an muß die abzufragende Datenbank gut kennen</a:t>
            </a:r>
          </a:p>
          <a:p>
            <a:endParaRPr lang="de-AT" dirty="0" smtClean="0"/>
          </a:p>
          <a:p>
            <a:endParaRPr lang="de-AT" dirty="0" smtClean="0"/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sz="1400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 descr="C:\Users\psad\Desktop\DBIS2\20110323_Access04\schuldb1_v03_modell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628800"/>
            <a:ext cx="7704856" cy="466523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Abfragen (auf 1 Tabelle)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2600" dirty="0" smtClean="0"/>
              <a:t>Alle Übungen vom Ende der letzten Stunde verwendeten genau eine Tabelle (z.B. FROM </a:t>
            </a:r>
            <a:r>
              <a:rPr lang="de-AT" sz="2600" dirty="0" err="1" smtClean="0"/>
              <a:t>lehrer</a:t>
            </a:r>
            <a:r>
              <a:rPr lang="de-AT" sz="2600" dirty="0" smtClean="0"/>
              <a:t>), es mußte eine Bedingung formuliert werden (z.B. WHERE </a:t>
            </a:r>
            <a:r>
              <a:rPr lang="de-AT" sz="2600" dirty="0" err="1" smtClean="0"/>
              <a:t>S_Name</a:t>
            </a:r>
            <a:r>
              <a:rPr lang="de-AT" sz="2600" dirty="0" smtClean="0"/>
              <a:t> LIKE ″S*″ ) und beliebige Spalten ausgegeben werden.</a:t>
            </a:r>
          </a:p>
          <a:p>
            <a:r>
              <a:rPr lang="de-AT" dirty="0" smtClean="0"/>
              <a:t>Lehrer mit Sprechstunde</a:t>
            </a:r>
            <a:br>
              <a:rPr lang="de-AT" dirty="0" smtClean="0"/>
            </a:br>
            <a:r>
              <a:rPr lang="de-AT" dirty="0" smtClean="0"/>
              <a:t>am Montag, sortiert </a:t>
            </a:r>
            <a:br>
              <a:rPr lang="de-AT" dirty="0" smtClean="0"/>
            </a:br>
            <a:r>
              <a:rPr lang="de-AT" dirty="0" smtClean="0"/>
              <a:t>nach Lehrerkürzel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7650" name="Picture 2" descr="C:\Users\psad\AppData\Local\Temp\SNAGHTML14e20c5c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992" y="2852936"/>
            <a:ext cx="4644008" cy="3405605"/>
          </a:xfrm>
          <a:prstGeom prst="rect">
            <a:avLst/>
          </a:prstGeom>
          <a:noFill/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504" y="4653136"/>
            <a:ext cx="4603651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mit Pfeil 12"/>
          <p:cNvCxnSpPr/>
          <p:nvPr/>
        </p:nvCxnSpPr>
        <p:spPr>
          <a:xfrm rot="10800000">
            <a:off x="1043608" y="5589240"/>
            <a:ext cx="2304256" cy="6480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flipV="1">
            <a:off x="3419872" y="5373216"/>
            <a:ext cx="2232248" cy="8640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rot="10800000" flipV="1">
            <a:off x="3851920" y="3933056"/>
            <a:ext cx="3168352" cy="12241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rot="16200000" flipH="1">
            <a:off x="6408204" y="4617132"/>
            <a:ext cx="1728192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V="1">
            <a:off x="1403648" y="3933056"/>
            <a:ext cx="3456384" cy="108012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Abfragen (auf 1 Tabelle)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Lehrer haben keine Sprechstunde eingetragen</a:t>
            </a:r>
            <a:br>
              <a:rPr lang="de-AT" dirty="0" smtClean="0"/>
            </a:br>
            <a:endParaRPr lang="de-AT" sz="3600" dirty="0" smtClean="0"/>
          </a:p>
          <a:p>
            <a:r>
              <a:rPr lang="de-AT" dirty="0" smtClean="0"/>
              <a:t>Welche Klassen enden vor dem Schuljahresende </a:t>
            </a:r>
            <a:br>
              <a:rPr lang="de-AT" dirty="0" smtClean="0"/>
            </a:br>
            <a:r>
              <a:rPr lang="de-AT" dirty="0" smtClean="0"/>
              <a:t>(haben Inhalt in </a:t>
            </a:r>
            <a:r>
              <a:rPr lang="de-AT" dirty="0" err="1" smtClean="0"/>
              <a:t>K_Datumbis</a:t>
            </a:r>
            <a:r>
              <a:rPr lang="de-AT" dirty="0" smtClean="0"/>
              <a:t>)</a:t>
            </a:r>
          </a:p>
          <a:p>
            <a:pPr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sz="2000" dirty="0" smtClean="0"/>
          </a:p>
          <a:p>
            <a:r>
              <a:rPr lang="de-AT" dirty="0" smtClean="0"/>
              <a:t>Welche Klassen sind Fachschulklassen (enthalten FID)</a:t>
            </a:r>
          </a:p>
          <a:p>
            <a:endParaRPr lang="de-AT" sz="3600" dirty="0" smtClean="0"/>
          </a:p>
          <a:p>
            <a:r>
              <a:rPr lang="de-AT" dirty="0" smtClean="0"/>
              <a:t>welche Klassen sind 1. </a:t>
            </a:r>
            <a:r>
              <a:rPr lang="de-AT" dirty="0" err="1" smtClean="0"/>
              <a:t>jahrgänge</a:t>
            </a: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16399" y="1587306"/>
            <a:ext cx="5544616" cy="63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15816" y="3212976"/>
            <a:ext cx="4531766" cy="63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9592" y="4437112"/>
            <a:ext cx="3407348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27984" y="4437112"/>
            <a:ext cx="3429549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Wolkenförmige Legende 12"/>
          <p:cNvSpPr/>
          <p:nvPr/>
        </p:nvSpPr>
        <p:spPr>
          <a:xfrm>
            <a:off x="6804248" y="2564904"/>
            <a:ext cx="2160240" cy="936104"/>
          </a:xfrm>
          <a:prstGeom prst="cloudCallout">
            <a:avLst>
              <a:gd name="adj1" fmla="val -61398"/>
              <a:gd name="adj2" fmla="val 299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000" dirty="0" smtClean="0"/>
              <a:t>Leer oder nicht leer</a:t>
            </a:r>
            <a:endParaRPr lang="de-AT" sz="2000" dirty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835696" y="5589240"/>
            <a:ext cx="3330639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Wolkenförmige Legende 14"/>
          <p:cNvSpPr/>
          <p:nvPr/>
        </p:nvSpPr>
        <p:spPr>
          <a:xfrm>
            <a:off x="6732240" y="5373216"/>
            <a:ext cx="2160240" cy="936104"/>
          </a:xfrm>
          <a:prstGeom prst="cloudCallout">
            <a:avLst>
              <a:gd name="adj1" fmla="val -69776"/>
              <a:gd name="adj2" fmla="val -331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000" dirty="0" err="1" smtClean="0"/>
              <a:t>Like</a:t>
            </a:r>
            <a:r>
              <a:rPr lang="de-AT" sz="2000" dirty="0" smtClean="0"/>
              <a:t> </a:t>
            </a:r>
            <a:r>
              <a:rPr lang="de-AT" sz="2000" dirty="0" err="1" smtClean="0"/>
              <a:t>mog</a:t>
            </a:r>
            <a:r>
              <a:rPr lang="de-AT" sz="2000" dirty="0" smtClean="0"/>
              <a:t> I</a:t>
            </a:r>
            <a:endParaRPr lang="de-AT" sz="20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Schuljahre beginnen im Jahr 2009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Wie lange dauern die verschiedenen Schuljahre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sz="4000" dirty="0" smtClean="0"/>
          </a:p>
          <a:p>
            <a:r>
              <a:rPr lang="de-AT" dirty="0" smtClean="0"/>
              <a:t>Welche Schüler wohnen an einem "weg" in den Bezirken 2,12 oder 22   (über die Postleitzahl)</a:t>
            </a:r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Abfragen (auf 1 Tabelle) 4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4608959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Wolkenförmige Legende 7"/>
          <p:cNvSpPr/>
          <p:nvPr/>
        </p:nvSpPr>
        <p:spPr>
          <a:xfrm>
            <a:off x="6839744" y="1124744"/>
            <a:ext cx="2304256" cy="1224136"/>
          </a:xfrm>
          <a:prstGeom prst="cloudCallout">
            <a:avLst>
              <a:gd name="adj1" fmla="val -76390"/>
              <a:gd name="adj2" fmla="val 4011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Datums-funktionen</a:t>
            </a:r>
            <a:r>
              <a:rPr lang="de-AT" dirty="0" smtClean="0"/>
              <a:t>  sind praktisch</a:t>
            </a:r>
            <a:endParaRPr lang="de-AT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2996952"/>
            <a:ext cx="5966938" cy="87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941168"/>
            <a:ext cx="914418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Wolkenförmige Legende 10"/>
          <p:cNvSpPr/>
          <p:nvPr/>
        </p:nvSpPr>
        <p:spPr>
          <a:xfrm>
            <a:off x="3203848" y="5589240"/>
            <a:ext cx="2880320" cy="792088"/>
          </a:xfrm>
          <a:prstGeom prst="cloudCallout">
            <a:avLst>
              <a:gd name="adj1" fmla="val -52911"/>
              <a:gd name="adj2" fmla="val -368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rspart viele OR</a:t>
            </a:r>
            <a:endParaRPr lang="de-AT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Schüler wohnen nicht in Wien und sind vor 1993 geboren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sz="1800" dirty="0" smtClean="0"/>
          </a:p>
          <a:p>
            <a:r>
              <a:rPr lang="de-AT" dirty="0" smtClean="0"/>
              <a:t>Welche Schüler wohnen in Bezirken, die an  die Ringstraße bzw. die 2er-Linie grenzen</a:t>
            </a:r>
          </a:p>
          <a:p>
            <a:endParaRPr lang="de-AT" dirty="0" smtClean="0"/>
          </a:p>
          <a:p>
            <a:endParaRPr lang="de-AT" sz="2200" dirty="0" smtClean="0"/>
          </a:p>
          <a:p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s_geschlecht</a:t>
            </a:r>
            <a:r>
              <a:rPr lang="de-AT" dirty="0" smtClean="0"/>
              <a:t> =  </a:t>
            </a:r>
            <a:r>
              <a:rPr lang="de-AT" dirty="0" err="1" smtClean="0"/>
              <a:t>month</a:t>
            </a:r>
            <a:r>
              <a:rPr lang="de-AT" dirty="0" smtClean="0"/>
              <a:t>(</a:t>
            </a:r>
            <a:r>
              <a:rPr lang="de-AT" dirty="0" err="1" smtClean="0"/>
              <a:t>s_gebdatum</a:t>
            </a:r>
            <a:r>
              <a:rPr lang="de-AT" dirty="0" smtClean="0"/>
              <a:t>) </a:t>
            </a:r>
            <a:br>
              <a:rPr lang="de-AT" dirty="0" smtClean="0"/>
            </a:br>
            <a:r>
              <a:rPr lang="de-AT" sz="2400" dirty="0" smtClean="0"/>
              <a:t/>
            </a:r>
            <a:br>
              <a:rPr lang="de-AT" sz="2400" dirty="0" smtClean="0"/>
            </a:b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Instr</a:t>
            </a:r>
            <a:r>
              <a:rPr lang="de-AT" dirty="0" smtClean="0"/>
              <a:t>(</a:t>
            </a:r>
            <a:r>
              <a:rPr lang="de-AT" dirty="0" err="1" smtClean="0"/>
              <a:t>S_Hausnummer</a:t>
            </a:r>
            <a:r>
              <a:rPr lang="de-AT" dirty="0" smtClean="0"/>
              <a:t>,'/') = 0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Abfragen (auf 1 Tabelle) 5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1724027"/>
            <a:ext cx="5112568" cy="98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83768" y="3717032"/>
            <a:ext cx="627189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35696" y="5085184"/>
            <a:ext cx="6912768" cy="303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6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35696" y="5877272"/>
            <a:ext cx="6076492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b="1" dirty="0" smtClean="0">
                <a:solidFill>
                  <a:srgbClr val="FF0000"/>
                </a:solidFill>
              </a:rPr>
              <a:t>Abfragen</a:t>
            </a:r>
            <a:r>
              <a:rPr lang="de-AT" dirty="0" smtClean="0"/>
              <a:t> in Access mit mehreren Tab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                 wäre sicher nie verwendet worden, wenn man immer nur eine Tabelle abfragen könnte.</a:t>
            </a:r>
          </a:p>
          <a:p>
            <a:r>
              <a:rPr lang="de-AT" b="1" dirty="0" smtClean="0">
                <a:solidFill>
                  <a:srgbClr val="FF0000"/>
                </a:solidFill>
              </a:rPr>
              <a:t>Die wirkliche Stärke liegt im JOIN mehrerer Tabellen </a:t>
            </a:r>
          </a:p>
          <a:p>
            <a:r>
              <a:rPr lang="de-AT" dirty="0" smtClean="0"/>
              <a:t>Es können 2 oder mehr Tabellen im FROM kombiniert (mit JOIN verbunden) werden, man muß angeben, welcher Datensatz  mit welchen anderen kombiniert werden soll.</a:t>
            </a:r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755576" y="1052736"/>
            <a:ext cx="12987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QL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4869160"/>
            <a:ext cx="7386854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bgerundete rechteckige Legende 8"/>
          <p:cNvSpPr/>
          <p:nvPr/>
        </p:nvSpPr>
        <p:spPr>
          <a:xfrm>
            <a:off x="2771800" y="4293096"/>
            <a:ext cx="1224136" cy="504056"/>
          </a:xfrm>
          <a:prstGeom prst="wedgeRoundRectCallout">
            <a:avLst>
              <a:gd name="adj1" fmla="val -20833"/>
              <a:gd name="adj2" fmla="val 719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Tabelle 1</a:t>
            </a:r>
            <a:endParaRPr lang="de-AT" dirty="0"/>
          </a:p>
        </p:txBody>
      </p:sp>
      <p:sp>
        <p:nvSpPr>
          <p:cNvPr id="10" name="Abgerundete rechteckige Legende 9"/>
          <p:cNvSpPr/>
          <p:nvPr/>
        </p:nvSpPr>
        <p:spPr>
          <a:xfrm>
            <a:off x="5220072" y="4293096"/>
            <a:ext cx="1224136" cy="504056"/>
          </a:xfrm>
          <a:prstGeom prst="wedgeRoundRectCallout">
            <a:avLst>
              <a:gd name="adj1" fmla="val -20833"/>
              <a:gd name="adj2" fmla="val 719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Tabelle 2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2987824" y="5805264"/>
            <a:ext cx="1728192" cy="504056"/>
          </a:xfrm>
          <a:prstGeom prst="wedgeRoundRectCallout">
            <a:avLst>
              <a:gd name="adj1" fmla="val -20055"/>
              <a:gd name="adj2" fmla="val -7355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Tabelle 1.PK</a:t>
            </a:r>
            <a:endParaRPr lang="de-AT" dirty="0"/>
          </a:p>
        </p:txBody>
      </p:sp>
      <p:sp>
        <p:nvSpPr>
          <p:cNvPr id="12" name="Abgerundete rechteckige Legende 11"/>
          <p:cNvSpPr/>
          <p:nvPr/>
        </p:nvSpPr>
        <p:spPr>
          <a:xfrm>
            <a:off x="5292080" y="5805264"/>
            <a:ext cx="1728192" cy="504056"/>
          </a:xfrm>
          <a:prstGeom prst="wedgeRoundRectCallout">
            <a:avLst>
              <a:gd name="adj1" fmla="val -20055"/>
              <a:gd name="adj2" fmla="val -7355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Tabelle2.FK</a:t>
            </a:r>
            <a:endParaRPr lang="de-AT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b="1" dirty="0" smtClean="0">
                <a:solidFill>
                  <a:srgbClr val="FF0000"/>
                </a:solidFill>
              </a:rPr>
              <a:t>Abfragen</a:t>
            </a:r>
            <a:r>
              <a:rPr lang="de-AT" dirty="0" smtClean="0"/>
              <a:t> in Access mit mehreren Tabellen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Die Entwurfsansicht zeigt den FROM sehr gut a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482" name="Picture 2" descr="C:\Users\psad\AppData\Local\Temp\SNAGHTML18f38b5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9832" y="2708920"/>
            <a:ext cx="5915025" cy="3657600"/>
          </a:xfrm>
          <a:prstGeom prst="rect">
            <a:avLst/>
          </a:prstGeom>
          <a:noFill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536" y="1844824"/>
            <a:ext cx="7386854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Gewinkelte Verbindung 10"/>
          <p:cNvCxnSpPr/>
          <p:nvPr/>
        </p:nvCxnSpPr>
        <p:spPr>
          <a:xfrm>
            <a:off x="2267744" y="2636912"/>
            <a:ext cx="1440160" cy="86409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Gewinkelte Verbindung 11"/>
          <p:cNvCxnSpPr/>
          <p:nvPr/>
        </p:nvCxnSpPr>
        <p:spPr>
          <a:xfrm rot="5400000">
            <a:off x="5940152" y="3068960"/>
            <a:ext cx="1368152" cy="50405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88024" y="5949280"/>
            <a:ext cx="3834426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Gerade Verbindung mit Pfeil 16"/>
          <p:cNvCxnSpPr/>
          <p:nvPr/>
        </p:nvCxnSpPr>
        <p:spPr>
          <a:xfrm>
            <a:off x="5004048" y="5661248"/>
            <a:ext cx="432048" cy="3600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797152"/>
            <a:ext cx="3336202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b="1" dirty="0" smtClean="0">
                <a:solidFill>
                  <a:srgbClr val="FF0000"/>
                </a:solidFill>
              </a:rPr>
              <a:t>Abfragen</a:t>
            </a:r>
            <a:r>
              <a:rPr lang="de-AT" dirty="0" smtClean="0"/>
              <a:t> in Access mit mehreren Tabellen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68552"/>
          </a:xfrm>
        </p:spPr>
        <p:txBody>
          <a:bodyPr>
            <a:normAutofit fontScale="92500" lnSpcReduction="10000"/>
          </a:bodyPr>
          <a:lstStyle/>
          <a:p>
            <a:r>
              <a:rPr lang="de-AT" dirty="0" smtClean="0"/>
              <a:t>Was passiert beim JOIN?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In der Ausgabe sind jene Lehrer enthalten, deren PK Wert (</a:t>
            </a:r>
            <a:r>
              <a:rPr lang="de-AT" dirty="0" err="1" smtClean="0"/>
              <a:t>L_Nr</a:t>
            </a:r>
            <a:r>
              <a:rPr lang="de-AT" dirty="0" smtClean="0"/>
              <a:t>) auch im FK der Tabelle Klassen (</a:t>
            </a:r>
            <a:r>
              <a:rPr lang="de-AT" dirty="0" err="1" smtClean="0"/>
              <a:t>K_Vorstand</a:t>
            </a:r>
            <a:r>
              <a:rPr lang="de-AT" dirty="0" smtClean="0"/>
              <a:t>) vorkommt. Weil alle Klassen einen KV haben gibt es 27 Ergebnissätze (jede Klasse mit den passenden KV Daten)</a:t>
            </a:r>
            <a:br>
              <a:rPr lang="de-AT" dirty="0" smtClean="0"/>
            </a:br>
            <a:r>
              <a:rPr lang="de-AT" dirty="0" smtClean="0"/>
              <a:t>(Hinweis: Ihre DB kann andere Anzahlen haben)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1628800"/>
            <a:ext cx="7386854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Gewinkelte Verbindung 11"/>
          <p:cNvCxnSpPr/>
          <p:nvPr/>
        </p:nvCxnSpPr>
        <p:spPr>
          <a:xfrm rot="5400000">
            <a:off x="4716016" y="2924944"/>
            <a:ext cx="504056" cy="50405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1763688" y="2636912"/>
            <a:ext cx="172819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61 Lehrer</a:t>
            </a:r>
            <a:endParaRPr lang="de-AT" dirty="0"/>
          </a:p>
        </p:txBody>
      </p:sp>
      <p:cxnSp>
        <p:nvCxnSpPr>
          <p:cNvPr id="14" name="Gewinkelte Verbindung 13"/>
          <p:cNvCxnSpPr/>
          <p:nvPr/>
        </p:nvCxnSpPr>
        <p:spPr>
          <a:xfrm rot="16200000" flipH="1">
            <a:off x="3563888" y="2924944"/>
            <a:ext cx="504056" cy="50405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0" name="Rechteck 19"/>
          <p:cNvSpPr/>
          <p:nvPr/>
        </p:nvSpPr>
        <p:spPr>
          <a:xfrm>
            <a:off x="5292080" y="2636912"/>
            <a:ext cx="172819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27 Klassen</a:t>
            </a:r>
            <a:endParaRPr lang="de-AT" dirty="0"/>
          </a:p>
        </p:txBody>
      </p:sp>
      <p:sp>
        <p:nvSpPr>
          <p:cNvPr id="21" name="Rechteck 20"/>
          <p:cNvSpPr/>
          <p:nvPr/>
        </p:nvSpPr>
        <p:spPr>
          <a:xfrm>
            <a:off x="3491880" y="3501008"/>
            <a:ext cx="1872208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27 Ergebnissätze </a:t>
            </a:r>
            <a:endParaRPr lang="de-AT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275</Words>
  <Application>Microsoft Office PowerPoint</Application>
  <PresentationFormat>Bildschirmpräsentation (4:3)</PresentationFormat>
  <Paragraphs>270</Paragraphs>
  <Slides>12</Slides>
  <Notes>1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HTL Spengergasse Vorlage V01</vt:lpstr>
      <vt:lpstr>DBIS2 –  Datenbanken und Informationssysteme</vt:lpstr>
      <vt:lpstr>Wiederholung Abfragen (auf 1 Tabelle)</vt:lpstr>
      <vt:lpstr>Wiederholung Abfragen (auf 1 Tabelle) 2</vt:lpstr>
      <vt:lpstr>Wiederholung Abfragen (auf 1 Tabelle) 3</vt:lpstr>
      <vt:lpstr>Wiederholung Abfragen (auf 1 Tabelle) 4</vt:lpstr>
      <vt:lpstr>Wiederholung Abfragen (auf 1 Tabelle) 5</vt:lpstr>
      <vt:lpstr>Abfragen in Access mit mehreren Tabellen</vt:lpstr>
      <vt:lpstr>Abfragen in Access mit mehreren Tabellen 2</vt:lpstr>
      <vt:lpstr>Abfragen in Access mit mehreren Tabellen 3</vt:lpstr>
      <vt:lpstr>Abfragen in Access mit mehreren Tabellen 4</vt:lpstr>
      <vt:lpstr>Abfragen in Access Übungen für Sie schuldb1_V3.mdb</vt:lpstr>
      <vt:lpstr>Abfragen in Access Übungen für Sie schuldb1_V3.mdb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226</cp:revision>
  <dcterms:created xsi:type="dcterms:W3CDTF">2010-09-09T10:26:00Z</dcterms:created>
  <dcterms:modified xsi:type="dcterms:W3CDTF">2012-03-03T11:35:12Z</dcterms:modified>
</cp:coreProperties>
</file>